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4"/>
    <p:sldMasterId id="2147483692" r:id="rId5"/>
    <p:sldMasterId id="2147483701" r:id="rId6"/>
    <p:sldMasterId id="2147483738" r:id="rId7"/>
  </p:sldMasterIdLst>
  <p:notesMasterIdLst>
    <p:notesMasterId r:id="rId11"/>
  </p:notesMasterIdLst>
  <p:sldIdLst>
    <p:sldId id="551" r:id="rId8"/>
    <p:sldId id="600" r:id="rId9"/>
    <p:sldId id="599" r:id="rId10"/>
  </p:sldIdLst>
  <p:sldSz cx="12192000" cy="6858000"/>
  <p:notesSz cx="6797675" cy="9926638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1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6B861"/>
    <a:srgbClr val="DDDDDD"/>
    <a:srgbClr val="F6B8CB"/>
    <a:srgbClr val="34348A"/>
    <a:srgbClr val="3C3C9E"/>
    <a:srgbClr val="D2D2EE"/>
    <a:srgbClr val="E85281"/>
    <a:srgbClr val="FFEBAB"/>
    <a:srgbClr val="FFC000"/>
    <a:srgbClr val="F822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250" autoAdjust="0"/>
    <p:restoredTop sz="68796" autoAdjust="0"/>
  </p:normalViewPr>
  <p:slideViewPr>
    <p:cSldViewPr snapToGrid="0">
      <p:cViewPr varScale="1">
        <p:scale>
          <a:sx n="61" d="100"/>
          <a:sy n="61" d="100"/>
        </p:scale>
        <p:origin x="1694" y="48"/>
      </p:cViewPr>
      <p:guideLst>
        <p:guide orient="horz" pos="2160"/>
        <p:guide pos="3816"/>
      </p:guideLst>
    </p:cSldViewPr>
  </p:slideViewPr>
  <p:outlineViewPr>
    <p:cViewPr>
      <p:scale>
        <a:sx n="33" d="100"/>
        <a:sy n="33" d="100"/>
      </p:scale>
      <p:origin x="0" y="-7541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S 1</c:v>
                </c:pt>
              </c:strCache>
            </c:strRef>
          </c:tx>
          <c:spPr>
            <a:solidFill>
              <a:srgbClr val="3F85C1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0E6-4DD5-A0F8-566FDD6863B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S 2</c:v>
                </c:pt>
              </c:strCache>
            </c:strRef>
          </c:tx>
          <c:spPr>
            <a:solidFill>
              <a:srgbClr val="76B861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0E6-4DD5-A0F8-566FDD6863B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S 3</c:v>
                </c:pt>
              </c:strCache>
            </c:strRef>
          </c:tx>
          <c:spPr>
            <a:solidFill>
              <a:srgbClr val="CF3558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E0E6-4DD5-A0F8-566FDD6863B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S 4</c:v>
                </c:pt>
              </c:strCache>
            </c:strRef>
          </c:tx>
          <c:spPr>
            <a:solidFill>
              <a:srgbClr val="2AAD89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5</c:v>
                </c:pt>
                <c:pt idx="1">
                  <c:v>7</c:v>
                </c:pt>
                <c:pt idx="2">
                  <c:v>4</c:v>
                </c:pt>
                <c:pt idx="3">
                  <c:v>2</c:v>
                </c:pt>
                <c:pt idx="4">
                  <c:v>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E0E6-4DD5-A0F8-566FDD6863B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S 5</c:v>
                </c:pt>
              </c:strCache>
            </c:strRef>
          </c:tx>
          <c:spPr>
            <a:solidFill>
              <a:srgbClr val="C04790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F$2:$F$6</c:f>
              <c:numCache>
                <c:formatCode>General</c:formatCode>
                <c:ptCount val="5"/>
                <c:pt idx="0">
                  <c:v>6</c:v>
                </c:pt>
                <c:pt idx="1">
                  <c:v>8</c:v>
                </c:pt>
                <c:pt idx="2">
                  <c:v>3</c:v>
                </c:pt>
                <c:pt idx="3">
                  <c:v>1</c:v>
                </c:pt>
                <c:pt idx="4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E0E6-4DD5-A0F8-566FDD6863BE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MS 6</c:v>
                </c:pt>
              </c:strCache>
            </c:strRef>
          </c:tx>
          <c:spPr>
            <a:solidFill>
              <a:srgbClr val="EE8032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G$2:$G$6</c:f>
              <c:numCache>
                <c:formatCode>General</c:formatCode>
                <c:ptCount val="5"/>
                <c:pt idx="0">
                  <c:v>5</c:v>
                </c:pt>
                <c:pt idx="1">
                  <c:v>4</c:v>
                </c:pt>
                <c:pt idx="2">
                  <c:v>3</c:v>
                </c:pt>
                <c:pt idx="3">
                  <c:v>2</c:v>
                </c:pt>
                <c:pt idx="4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E0E6-4DD5-A0F8-566FDD6863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43810056"/>
        <c:axId val="343808880"/>
      </c:barChart>
      <c:catAx>
        <c:axId val="34381005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rgbClr val="3F85C1"/>
            </a:solidFill>
          </a:ln>
        </c:spPr>
        <c:txPr>
          <a:bodyPr/>
          <a:lstStyle/>
          <a:p>
            <a:pPr>
              <a:defRPr>
                <a:latin typeface="EC Square Sans Pro" panose="020B0506040000020004" pitchFamily="34" charset="0"/>
              </a:defRPr>
            </a:pPr>
            <a:endParaRPr lang="en-US"/>
          </a:p>
        </c:txPr>
        <c:crossAx val="343808880"/>
        <c:crosses val="autoZero"/>
        <c:auto val="1"/>
        <c:lblAlgn val="ctr"/>
        <c:lblOffset val="100"/>
        <c:noMultiLvlLbl val="0"/>
      </c:catAx>
      <c:valAx>
        <c:axId val="343808880"/>
        <c:scaling>
          <c:orientation val="minMax"/>
        </c:scaling>
        <c:delete val="0"/>
        <c:axPos val="l"/>
        <c:majorGridlines>
          <c:spPr>
            <a:ln w="3175"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solidFill>
              <a:srgbClr val="3F85C1"/>
            </a:solidFill>
          </a:ln>
        </c:spPr>
        <c:txPr>
          <a:bodyPr/>
          <a:lstStyle/>
          <a:p>
            <a:pPr>
              <a:defRPr>
                <a:latin typeface="EC Square Sans Pro" panose="020B0506040000020004" pitchFamily="34" charset="0"/>
              </a:defRPr>
            </a:pPr>
            <a:endParaRPr lang="en-US"/>
          </a:p>
        </c:txPr>
        <c:crossAx val="343810056"/>
        <c:crosses val="autoZero"/>
        <c:crossBetween val="between"/>
      </c:valAx>
    </c:plotArea>
    <c:legend>
      <c:legendPos val="r"/>
      <c:overlay val="0"/>
      <c:txPr>
        <a:bodyPr/>
        <a:lstStyle/>
        <a:p>
          <a:pPr>
            <a:defRPr>
              <a:latin typeface="EC Square Sans Pro" panose="020B05060400000200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S 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7CC192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EE9-4624-808B-9D544938BA2D}"/>
              </c:ext>
            </c:extLst>
          </c:dPt>
          <c:dPt>
            <c:idx val="1"/>
            <c:bubble3D val="0"/>
            <c:spPr>
              <a:solidFill>
                <a:srgbClr val="CF3558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EE9-4624-808B-9D544938BA2D}"/>
              </c:ext>
            </c:extLst>
          </c:dPt>
          <c:dPt>
            <c:idx val="2"/>
            <c:bubble3D val="0"/>
            <c:spPr>
              <a:solidFill>
                <a:srgbClr val="C0479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EEE9-4624-808B-9D544938BA2D}"/>
              </c:ext>
            </c:extLst>
          </c:dPt>
          <c:dPt>
            <c:idx val="3"/>
            <c:bubble3D val="0"/>
            <c:spPr>
              <a:solidFill>
                <a:srgbClr val="3F85C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EEE9-4624-808B-9D544938BA2D}"/>
              </c:ext>
            </c:extLst>
          </c:dPt>
          <c:dPt>
            <c:idx val="4"/>
            <c:bubble3D val="0"/>
            <c:spPr>
              <a:solidFill>
                <a:srgbClr val="76B86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EEE9-4624-808B-9D544938BA2D}"/>
              </c:ext>
            </c:extLst>
          </c:dPt>
          <c:dPt>
            <c:idx val="5"/>
            <c:bubble3D val="0"/>
            <c:spPr>
              <a:solidFill>
                <a:srgbClr val="EE8032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EEE9-4624-808B-9D544938BA2D}"/>
              </c:ext>
            </c:extLst>
          </c:dPt>
          <c:cat>
            <c:strRef>
              <c:f>Sheet1!$A$2:$A$7</c:f>
              <c:strCache>
                <c:ptCount val="6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  <c:pt idx="5">
                  <c:v>Action F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</c:v>
                </c:pt>
                <c:pt idx="5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EEE9-4624-808B-9D544938BA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  <c:txPr>
        <a:bodyPr/>
        <a:lstStyle/>
        <a:p>
          <a:pPr>
            <a:defRPr>
              <a:latin typeface="EC Square Sans Pro" panose="020B05060400000200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S 1</c:v>
                </c:pt>
              </c:strCache>
            </c:strRef>
          </c:tx>
          <c:spPr>
            <a:solidFill>
              <a:srgbClr val="3F85C1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0E6-4DD5-A0F8-566FDD6863B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S 2</c:v>
                </c:pt>
              </c:strCache>
            </c:strRef>
          </c:tx>
          <c:spPr>
            <a:solidFill>
              <a:srgbClr val="76B861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0E6-4DD5-A0F8-566FDD6863B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S 3</c:v>
                </c:pt>
              </c:strCache>
            </c:strRef>
          </c:tx>
          <c:spPr>
            <a:solidFill>
              <a:srgbClr val="CF3558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E0E6-4DD5-A0F8-566FDD6863B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S 4</c:v>
                </c:pt>
              </c:strCache>
            </c:strRef>
          </c:tx>
          <c:spPr>
            <a:solidFill>
              <a:srgbClr val="2AAD89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5</c:v>
                </c:pt>
                <c:pt idx="1">
                  <c:v>7</c:v>
                </c:pt>
                <c:pt idx="2">
                  <c:v>4</c:v>
                </c:pt>
                <c:pt idx="3">
                  <c:v>2</c:v>
                </c:pt>
                <c:pt idx="4">
                  <c:v>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E0E6-4DD5-A0F8-566FDD6863B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S 5</c:v>
                </c:pt>
              </c:strCache>
            </c:strRef>
          </c:tx>
          <c:spPr>
            <a:solidFill>
              <a:srgbClr val="C04790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F$2:$F$6</c:f>
              <c:numCache>
                <c:formatCode>General</c:formatCode>
                <c:ptCount val="5"/>
                <c:pt idx="0">
                  <c:v>6</c:v>
                </c:pt>
                <c:pt idx="1">
                  <c:v>8</c:v>
                </c:pt>
                <c:pt idx="2">
                  <c:v>3</c:v>
                </c:pt>
                <c:pt idx="3">
                  <c:v>1</c:v>
                </c:pt>
                <c:pt idx="4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E0E6-4DD5-A0F8-566FDD6863BE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MS 6</c:v>
                </c:pt>
              </c:strCache>
            </c:strRef>
          </c:tx>
          <c:spPr>
            <a:solidFill>
              <a:srgbClr val="EE8032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G$2:$G$6</c:f>
              <c:numCache>
                <c:formatCode>General</c:formatCode>
                <c:ptCount val="5"/>
                <c:pt idx="0">
                  <c:v>5</c:v>
                </c:pt>
                <c:pt idx="1">
                  <c:v>4</c:v>
                </c:pt>
                <c:pt idx="2">
                  <c:v>3</c:v>
                </c:pt>
                <c:pt idx="3">
                  <c:v>2</c:v>
                </c:pt>
                <c:pt idx="4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E0E6-4DD5-A0F8-566FDD6863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43809272"/>
        <c:axId val="343814368"/>
      </c:barChart>
      <c:catAx>
        <c:axId val="34380927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rgbClr val="3F85C1"/>
            </a:solidFill>
          </a:ln>
        </c:spPr>
        <c:txPr>
          <a:bodyPr/>
          <a:lstStyle/>
          <a:p>
            <a:pPr>
              <a:defRPr>
                <a:latin typeface="EC Square Sans Pro" panose="020B0506040000020004" pitchFamily="34" charset="0"/>
              </a:defRPr>
            </a:pPr>
            <a:endParaRPr lang="en-US"/>
          </a:p>
        </c:txPr>
        <c:crossAx val="343814368"/>
        <c:crosses val="autoZero"/>
        <c:auto val="1"/>
        <c:lblAlgn val="ctr"/>
        <c:lblOffset val="100"/>
        <c:noMultiLvlLbl val="0"/>
      </c:catAx>
      <c:valAx>
        <c:axId val="343814368"/>
        <c:scaling>
          <c:orientation val="minMax"/>
        </c:scaling>
        <c:delete val="0"/>
        <c:axPos val="l"/>
        <c:majorGridlines>
          <c:spPr>
            <a:ln w="3175"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solidFill>
              <a:srgbClr val="3F85C1"/>
            </a:solidFill>
          </a:ln>
        </c:spPr>
        <c:txPr>
          <a:bodyPr/>
          <a:lstStyle/>
          <a:p>
            <a:pPr>
              <a:defRPr>
                <a:latin typeface="EC Square Sans Pro" panose="020B0506040000020004" pitchFamily="34" charset="0"/>
              </a:defRPr>
            </a:pPr>
            <a:endParaRPr lang="en-US"/>
          </a:p>
        </c:txPr>
        <c:crossAx val="343809272"/>
        <c:crosses val="autoZero"/>
        <c:crossBetween val="between"/>
      </c:valAx>
    </c:plotArea>
    <c:legend>
      <c:legendPos val="r"/>
      <c:overlay val="0"/>
      <c:txPr>
        <a:bodyPr/>
        <a:lstStyle/>
        <a:p>
          <a:pPr>
            <a:defRPr>
              <a:latin typeface="EC Square Sans Pro" panose="020B05060400000200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S 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7CC192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EE9-4624-808B-9D544938BA2D}"/>
              </c:ext>
            </c:extLst>
          </c:dPt>
          <c:dPt>
            <c:idx val="1"/>
            <c:bubble3D val="0"/>
            <c:spPr>
              <a:solidFill>
                <a:srgbClr val="CF3558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EE9-4624-808B-9D544938BA2D}"/>
              </c:ext>
            </c:extLst>
          </c:dPt>
          <c:dPt>
            <c:idx val="2"/>
            <c:bubble3D val="0"/>
            <c:spPr>
              <a:solidFill>
                <a:srgbClr val="C0479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EEE9-4624-808B-9D544938BA2D}"/>
              </c:ext>
            </c:extLst>
          </c:dPt>
          <c:dPt>
            <c:idx val="3"/>
            <c:bubble3D val="0"/>
            <c:spPr>
              <a:solidFill>
                <a:srgbClr val="3F85C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EEE9-4624-808B-9D544938BA2D}"/>
              </c:ext>
            </c:extLst>
          </c:dPt>
          <c:dPt>
            <c:idx val="4"/>
            <c:bubble3D val="0"/>
            <c:spPr>
              <a:solidFill>
                <a:srgbClr val="76B86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EEE9-4624-808B-9D544938BA2D}"/>
              </c:ext>
            </c:extLst>
          </c:dPt>
          <c:dPt>
            <c:idx val="5"/>
            <c:bubble3D val="0"/>
            <c:spPr>
              <a:solidFill>
                <a:srgbClr val="EE8032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EEE9-4624-808B-9D544938BA2D}"/>
              </c:ext>
            </c:extLst>
          </c:dPt>
          <c:cat>
            <c:strRef>
              <c:f>Sheet1!$A$2:$A$7</c:f>
              <c:strCache>
                <c:ptCount val="6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  <c:pt idx="5">
                  <c:v>Action F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</c:v>
                </c:pt>
                <c:pt idx="5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EEE9-4624-808B-9D544938BA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  <c:txPr>
        <a:bodyPr/>
        <a:lstStyle/>
        <a:p>
          <a:pPr>
            <a:defRPr>
              <a:latin typeface="EC Square Sans Pro" panose="020B05060400000200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E853A2-6E0B-47CA-8252-FBBF25A7B0BD}" type="datetimeFigureOut">
              <a:rPr lang="en-GB" smtClean="0"/>
              <a:t>25/11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DD922D-2E6D-4341-A124-EEA7A7A518E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79569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27501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78201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3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2BB59E6E-B967-488E-B209-8B7FA0D7AF99}" type="slidenum">
              <a:rPr lang="en-GB" b="1" smtClean="0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92424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53443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6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6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52117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417" y="1556278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09600" y="2636912"/>
            <a:ext cx="10972800" cy="3384476"/>
          </a:xfrm>
          <a:prstGeom prst="rect">
            <a:avLst/>
          </a:prstGeom>
        </p:spPr>
        <p:txBody>
          <a:bodyPr/>
          <a:lstStyle>
            <a:lvl1pPr marL="0" indent="-342900">
              <a:buClr>
                <a:srgbClr val="00AEF0"/>
              </a:buClr>
              <a:buSzPct val="120000"/>
              <a:buFont typeface="Arial" pitchFamily="34" charset="0"/>
              <a:buChar char="•"/>
              <a:defRPr lang="en-US" sz="1900" i="0" dirty="0" smtClean="0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buClr>
                <a:srgbClr val="00AEF0"/>
              </a:buClr>
              <a:buFont typeface="Courier New"/>
              <a:buChar char="o"/>
              <a:tabLst>
                <a:tab pos="7623175" algn="l"/>
              </a:tabLst>
              <a:defRPr/>
            </a:lvl2pPr>
            <a:lvl3pPr>
              <a:buFontTx/>
              <a:buChar char="-"/>
              <a:defRPr/>
            </a:lvl3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2"/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2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 anchor="b"/>
          <a:lstStyle>
            <a:lvl1pPr>
              <a:defRPr sz="900" b="0" i="1"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mtClean="0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28991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392" y="1268761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 algn="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Espace réservé du texte 12"/>
          <p:cNvSpPr>
            <a:spLocks noGrp="1"/>
          </p:cNvSpPr>
          <p:nvPr>
            <p:ph type="body" sz="quarter" idx="14"/>
          </p:nvPr>
        </p:nvSpPr>
        <p:spPr>
          <a:xfrm>
            <a:off x="624417" y="2276479"/>
            <a:ext cx="5376333" cy="3673475"/>
          </a:xfrm>
          <a:prstGeom prst="rect">
            <a:avLst/>
          </a:prstGeom>
        </p:spPr>
        <p:txBody>
          <a:bodyPr/>
          <a:lstStyle>
            <a:lvl1pPr>
              <a:defRPr lang="fr-FR" sz="1900" i="0" dirty="0" smtClean="0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Quatr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4" name="Espace réservé du texte 12"/>
          <p:cNvSpPr>
            <a:spLocks noGrp="1"/>
          </p:cNvSpPr>
          <p:nvPr>
            <p:ph type="body" sz="quarter" idx="15"/>
          </p:nvPr>
        </p:nvSpPr>
        <p:spPr>
          <a:xfrm>
            <a:off x="6192012" y="2276873"/>
            <a:ext cx="5376333" cy="3673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Quatr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83816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27788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2492896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2" y="2492896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 algn="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20" name="Espace réservé du texte 19"/>
          <p:cNvSpPr>
            <a:spLocks noGrp="1"/>
          </p:cNvSpPr>
          <p:nvPr>
            <p:ph type="body" sz="quarter" idx="15"/>
          </p:nvPr>
        </p:nvSpPr>
        <p:spPr>
          <a:xfrm>
            <a:off x="624417" y="3213100"/>
            <a:ext cx="5376333" cy="2736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Quatr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21" name="Espace réservé du texte 19"/>
          <p:cNvSpPr>
            <a:spLocks noGrp="1"/>
          </p:cNvSpPr>
          <p:nvPr>
            <p:ph type="body" sz="quarter" idx="16"/>
          </p:nvPr>
        </p:nvSpPr>
        <p:spPr>
          <a:xfrm>
            <a:off x="6192012" y="3212976"/>
            <a:ext cx="5376333" cy="2736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Quatr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22074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417" y="1268239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3" name="Espace réservé du graphique 12"/>
          <p:cNvSpPr>
            <a:spLocks noGrp="1"/>
          </p:cNvSpPr>
          <p:nvPr>
            <p:ph type="chart" sz="quarter" idx="13"/>
          </p:nvPr>
        </p:nvSpPr>
        <p:spPr>
          <a:xfrm>
            <a:off x="624422" y="2276873"/>
            <a:ext cx="10943167" cy="3600053"/>
          </a:xfrm>
          <a:prstGeom prst="rect">
            <a:avLst/>
          </a:prstGeom>
        </p:spPr>
        <p:txBody>
          <a:bodyPr/>
          <a:lstStyle>
            <a:lvl1pPr marL="342900" indent="-342900">
              <a:defRPr lang="fr-FR" sz="1900" i="0" dirty="0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EF0"/>
              </a:buClr>
              <a:buChar char="•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273603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24417" y="1268239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4" name="Espace réservé du tableau 13"/>
          <p:cNvSpPr>
            <a:spLocks noGrp="1"/>
          </p:cNvSpPr>
          <p:nvPr>
            <p:ph type="tbl" sz="quarter" idx="13"/>
          </p:nvPr>
        </p:nvSpPr>
        <p:spPr>
          <a:xfrm>
            <a:off x="624422" y="2276872"/>
            <a:ext cx="10943167" cy="3673078"/>
          </a:xfrm>
          <a:prstGeom prst="rect">
            <a:avLst/>
          </a:prstGeom>
        </p:spPr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657953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1052736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2204865"/>
            <a:ext cx="4011084" cy="38884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 algn="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5" name="Espace réservé du contenu 14"/>
          <p:cNvSpPr>
            <a:spLocks noGrp="1"/>
          </p:cNvSpPr>
          <p:nvPr>
            <p:ph sz="quarter" idx="13"/>
          </p:nvPr>
        </p:nvSpPr>
        <p:spPr>
          <a:xfrm>
            <a:off x="4656667" y="2205041"/>
            <a:ext cx="7008284" cy="38877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Quatr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70735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Title Solid Blue">
    <p:bg>
      <p:bgPr>
        <a:solidFill>
          <a:srgbClr val="3F85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15531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6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42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3" y="5362269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 dirty="0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8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718136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2_Title Solid Blue">
    <p:bg>
      <p:bgPr>
        <a:blipFill dpi="0" rotWithShape="1">
          <a:blip r:embed="rId2"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15531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6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42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3" y="5362269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 dirty="0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8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165386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2BB59E6E-B967-488E-B209-8B7FA0D7AF99}" type="slidenum">
              <a:rPr lang="en-GB" b="1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11169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8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5" name="Shape 175"/>
          <p:cNvSpPr>
            <a:spLocks noGrp="1"/>
          </p:cNvSpPr>
          <p:nvPr>
            <p:ph type="body" idx="1"/>
          </p:nvPr>
        </p:nvSpPr>
        <p:spPr>
          <a:xfrm>
            <a:off x="416721" y="2035969"/>
            <a:ext cx="11358563" cy="4018359"/>
          </a:xfrm>
          <a:prstGeom prst="rect">
            <a:avLst/>
          </a:prstGeom>
        </p:spPr>
        <p:txBody>
          <a:bodyPr anchor="t"/>
          <a:lstStyle>
            <a:lvl1pPr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250022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500045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750067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1000089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613340351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s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2717008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1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71591687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3" name="Table 2"/>
          <p:cNvGraphicFramePr>
            <a:graphicFrameLocks noGrp="1"/>
          </p:cNvGraphicFramePr>
          <p:nvPr userDrawn="1">
            <p:extLst/>
          </p:nvPr>
        </p:nvGraphicFramePr>
        <p:xfrm>
          <a:off x="425373" y="2061974"/>
          <a:ext cx="11341266" cy="394919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89021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89021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89021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89021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89021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890211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 dirty="0">
                          <a:solidFill>
                            <a:schemeClr val="bg1"/>
                          </a:solidFill>
                          <a:latin typeface="EC Square Sans Pro" panose="020B0506040000020004" pitchFamily="34" charset="0"/>
                        </a:rPr>
                        <a:t>Column</a:t>
                      </a:r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 dirty="0">
                          <a:latin typeface="EC Square Sans Pro" panose="020B0506040000020004" pitchFamily="34" charset="0"/>
                        </a:rPr>
                        <a:t>Row</a:t>
                      </a:r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7729438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" name="Chart 1"/>
          <p:cNvGraphicFramePr/>
          <p:nvPr userDrawn="1">
            <p:extLst/>
          </p:nvPr>
        </p:nvGraphicFramePr>
        <p:xfrm>
          <a:off x="425376" y="2061975"/>
          <a:ext cx="11354809" cy="3999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55613787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" name="Chart 1"/>
          <p:cNvGraphicFramePr/>
          <p:nvPr userDrawn="1">
            <p:extLst/>
          </p:nvPr>
        </p:nvGraphicFramePr>
        <p:xfrm>
          <a:off x="425376" y="2061975"/>
          <a:ext cx="11354809" cy="3999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658482937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0" y="1125538"/>
            <a:ext cx="12192000" cy="5732462"/>
          </a:xfrm>
          <a:prstGeom prst="rect">
            <a:avLst/>
          </a:prstGeom>
          <a:solidFill>
            <a:srgbClr val="0F5494"/>
          </a:solidFill>
          <a:ln w="73025" algn="ctr">
            <a:solidFill>
              <a:srgbClr val="0F549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6" descr="LOGO CE-EN-quadri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08015" y="309600"/>
            <a:ext cx="2112433" cy="1100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 userDrawn="1"/>
        </p:nvSpPr>
        <p:spPr>
          <a:xfrm>
            <a:off x="5640003" y="6669360"/>
            <a:ext cx="912284" cy="215900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19936" y="1700808"/>
            <a:ext cx="6048672" cy="2016224"/>
          </a:xfrm>
        </p:spPr>
        <p:txBody>
          <a:bodyPr/>
          <a:lstStyle>
            <a:lvl1pPr indent="0">
              <a:defRPr sz="4800">
                <a:solidFill>
                  <a:srgbClr val="FFD624"/>
                </a:solidFill>
              </a:defRPr>
            </a:lvl1pPr>
          </a:lstStyle>
          <a:p>
            <a:r>
              <a:rPr lang="en-GB" dirty="0" smtClean="0"/>
              <a:t>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3393" y="3933056"/>
            <a:ext cx="4992555" cy="1872208"/>
          </a:xfrm>
        </p:spPr>
        <p:txBody>
          <a:bodyPr/>
          <a:lstStyle>
            <a:lvl1pPr marL="0" indent="0">
              <a:buNone/>
              <a:defRPr sz="3000" b="1" i="0">
                <a:solidFill>
                  <a:schemeClr val="bg1"/>
                </a:solidFill>
              </a:defRPr>
            </a:lvl1pPr>
            <a:lvl3pPr marL="228600" indent="-228600" algn="l">
              <a:defRPr sz="3000" b="1"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BB59E6E-B967-488E-B209-8B7FA0D7AF9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39813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7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69369" y="6145213"/>
            <a:ext cx="2990849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417" y="980748"/>
            <a:ext cx="10972800" cy="9366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769351" y="116632"/>
            <a:ext cx="2844800" cy="476250"/>
          </a:xfrm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337126"/>
            <a:ext cx="3860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23392" y="6297439"/>
            <a:ext cx="2844800" cy="476250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fld id="{37EC8A20-BA03-4FF7-8742-03D8AD4CA4F4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09600" y="2276872"/>
            <a:ext cx="10972800" cy="3633788"/>
          </a:xfrm>
        </p:spPr>
        <p:txBody>
          <a:bodyPr/>
          <a:lstStyle>
            <a:lvl1pPr marL="342900" indent="-342900">
              <a:buClr>
                <a:srgbClr val="0F5494"/>
              </a:buClr>
              <a:buFont typeface="Arial" pitchFamily="34" charset="0"/>
              <a:buChar char="•"/>
              <a:defRPr/>
            </a:lvl1pPr>
            <a:lvl2pPr>
              <a:buClr>
                <a:srgbClr val="0F5494"/>
              </a:buClr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21690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27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E88F9B-71EE-4D5C-B44E-012EF44E925A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0058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387600"/>
            <a:ext cx="5384800" cy="36337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2387600"/>
            <a:ext cx="5384800" cy="36337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6CDD1B-50E0-44E8-82B7-F85F69F6D40C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5318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85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85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E8177A-0CE3-43B6-B11B-ED2E8AEAD8D3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95723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8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21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3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820241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855DDF-6655-40F2-8D9E-CA15739A7ECF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3094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EBFC62-E3CF-4012-8A8B-ABF1C18EA022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29063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66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8800BF-55FD-4017-8F82-94A8DE4F5750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3398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747253-C9BC-4251-8AE3-8910CE9253F2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5761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E98375-5C84-4176-84A5-B6A3E0825F02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2043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51900" y="1123950"/>
            <a:ext cx="2745317" cy="48974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3" y="1123950"/>
            <a:ext cx="8039100" cy="48974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7C7773-6390-40B5-8F3A-46FD9E5B7090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22281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Title Solid Blue">
    <p:bg>
      <p:bgPr>
        <a:solidFill>
          <a:srgbClr val="3F85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15531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6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42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3" y="5362269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 dirty="0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8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376997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2_Title Solid Blue">
    <p:bg>
      <p:bgPr>
        <a:blipFill dpi="0" rotWithShape="1">
          <a:blip r:embed="rId2"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15531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6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42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3" y="5362269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 dirty="0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8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891977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8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5" name="Shape 175"/>
          <p:cNvSpPr>
            <a:spLocks noGrp="1"/>
          </p:cNvSpPr>
          <p:nvPr>
            <p:ph type="body" idx="1"/>
          </p:nvPr>
        </p:nvSpPr>
        <p:spPr>
          <a:xfrm>
            <a:off x="416721" y="2035969"/>
            <a:ext cx="11358563" cy="4018359"/>
          </a:xfrm>
          <a:prstGeom prst="rect">
            <a:avLst/>
          </a:prstGeom>
        </p:spPr>
        <p:txBody>
          <a:bodyPr anchor="t"/>
          <a:lstStyle>
            <a:lvl1pPr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250022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500045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750067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1000089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 dirty="0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52820169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s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3601161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11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22589429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379108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 dirty="0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3" name="Table 2"/>
          <p:cNvGraphicFramePr>
            <a:graphicFrameLocks noGrp="1"/>
          </p:cNvGraphicFramePr>
          <p:nvPr userDrawn="1">
            <p:extLst/>
          </p:nvPr>
        </p:nvGraphicFramePr>
        <p:xfrm>
          <a:off x="425373" y="2061974"/>
          <a:ext cx="11341266" cy="394919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89021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89021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89021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89021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89021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890211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 dirty="0">
                          <a:solidFill>
                            <a:schemeClr val="bg1"/>
                          </a:solidFill>
                          <a:latin typeface="EC Square Sans Pro" panose="020B0506040000020004" pitchFamily="34" charset="0"/>
                        </a:rPr>
                        <a:t>Column</a:t>
                      </a:r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 dirty="0">
                          <a:latin typeface="EC Square Sans Pro" panose="020B0506040000020004" pitchFamily="34" charset="0"/>
                        </a:rPr>
                        <a:t>Row</a:t>
                      </a:r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dirty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2986973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 dirty="0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" name="Chart 1"/>
          <p:cNvGraphicFramePr/>
          <p:nvPr userDrawn="1">
            <p:extLst/>
          </p:nvPr>
        </p:nvGraphicFramePr>
        <p:xfrm>
          <a:off x="425376" y="2061975"/>
          <a:ext cx="11354809" cy="3999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04586337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 dirty="0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" name="Chart 1"/>
          <p:cNvGraphicFramePr/>
          <p:nvPr userDrawn="1">
            <p:extLst/>
          </p:nvPr>
        </p:nvGraphicFramePr>
        <p:xfrm>
          <a:off x="425376" y="2061975"/>
          <a:ext cx="11354809" cy="3999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34370448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000" b="1"/>
            </a:lvl2pPr>
            <a:lvl3pPr marL="914353" indent="0">
              <a:buNone/>
              <a:defRPr sz="1800" b="1"/>
            </a:lvl3pPr>
            <a:lvl4pPr marL="1371530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3" indent="0">
              <a:buNone/>
              <a:defRPr sz="1600" b="1"/>
            </a:lvl6pPr>
            <a:lvl7pPr marL="2743060" indent="0">
              <a:buNone/>
              <a:defRPr sz="1600" b="1"/>
            </a:lvl7pPr>
            <a:lvl8pPr marL="3200236" indent="0">
              <a:buNone/>
              <a:defRPr sz="1600" b="1"/>
            </a:lvl8pPr>
            <a:lvl9pPr marL="3657413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3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000" b="1"/>
            </a:lvl2pPr>
            <a:lvl3pPr marL="914353" indent="0">
              <a:buNone/>
              <a:defRPr sz="1800" b="1"/>
            </a:lvl3pPr>
            <a:lvl4pPr marL="1371530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3" indent="0">
              <a:buNone/>
              <a:defRPr sz="1600" b="1"/>
            </a:lvl6pPr>
            <a:lvl7pPr marL="2743060" indent="0">
              <a:buNone/>
              <a:defRPr sz="1600" b="1"/>
            </a:lvl7pPr>
            <a:lvl8pPr marL="3200236" indent="0">
              <a:buNone/>
              <a:defRPr sz="1600" b="1"/>
            </a:lvl8pPr>
            <a:lvl9pPr marL="3657413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3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337870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2BB59E6E-B967-488E-B209-8B7FA0D7AF99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69993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2BB59E6E-B967-488E-B209-8B7FA0D7AF99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04778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8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77" indent="0">
              <a:buNone/>
              <a:defRPr sz="1200"/>
            </a:lvl2pPr>
            <a:lvl3pPr marL="914353" indent="0">
              <a:buNone/>
              <a:defRPr sz="1000"/>
            </a:lvl3pPr>
            <a:lvl4pPr marL="1371530" indent="0">
              <a:buNone/>
              <a:defRPr sz="900"/>
            </a:lvl4pPr>
            <a:lvl5pPr marL="1828706" indent="0">
              <a:buNone/>
              <a:defRPr sz="900"/>
            </a:lvl5pPr>
            <a:lvl6pPr marL="2285883" indent="0">
              <a:buNone/>
              <a:defRPr sz="900"/>
            </a:lvl6pPr>
            <a:lvl7pPr marL="2743060" indent="0">
              <a:buNone/>
              <a:defRPr sz="900"/>
            </a:lvl7pPr>
            <a:lvl8pPr marL="3200236" indent="0">
              <a:buNone/>
              <a:defRPr sz="900"/>
            </a:lvl8pPr>
            <a:lvl9pPr marL="3657413" indent="0">
              <a:buNone/>
              <a:defRPr sz="9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843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77" indent="0">
              <a:buNone/>
              <a:defRPr sz="2800"/>
            </a:lvl2pPr>
            <a:lvl3pPr marL="914353" indent="0">
              <a:buNone/>
              <a:defRPr sz="2400"/>
            </a:lvl3pPr>
            <a:lvl4pPr marL="1371530" indent="0">
              <a:buNone/>
              <a:defRPr sz="2000"/>
            </a:lvl4pPr>
            <a:lvl5pPr marL="1828706" indent="0">
              <a:buNone/>
              <a:defRPr sz="2000"/>
            </a:lvl5pPr>
            <a:lvl6pPr marL="2285883" indent="0">
              <a:buNone/>
              <a:defRPr sz="2000"/>
            </a:lvl6pPr>
            <a:lvl7pPr marL="2743060" indent="0">
              <a:buNone/>
              <a:defRPr sz="2000"/>
            </a:lvl7pPr>
            <a:lvl8pPr marL="3200236" indent="0">
              <a:buNone/>
              <a:defRPr sz="2000"/>
            </a:lvl8pPr>
            <a:lvl9pPr marL="3657413" indent="0">
              <a:buNone/>
              <a:defRPr sz="2000"/>
            </a:lvl9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77" indent="0">
              <a:buNone/>
              <a:defRPr sz="1200"/>
            </a:lvl2pPr>
            <a:lvl3pPr marL="914353" indent="0">
              <a:buNone/>
              <a:defRPr sz="1000"/>
            </a:lvl3pPr>
            <a:lvl4pPr marL="1371530" indent="0">
              <a:buNone/>
              <a:defRPr sz="900"/>
            </a:lvl4pPr>
            <a:lvl5pPr marL="1828706" indent="0">
              <a:buNone/>
              <a:defRPr sz="900"/>
            </a:lvl5pPr>
            <a:lvl6pPr marL="2285883" indent="0">
              <a:buNone/>
              <a:defRPr sz="900"/>
            </a:lvl6pPr>
            <a:lvl7pPr marL="2743060" indent="0">
              <a:buNone/>
              <a:defRPr sz="900"/>
            </a:lvl7pPr>
            <a:lvl8pPr marL="3200236" indent="0">
              <a:buNone/>
              <a:defRPr sz="900"/>
            </a:lvl8pPr>
            <a:lvl9pPr marL="3657413" indent="0">
              <a:buNone/>
              <a:defRPr sz="9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 dirty="0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65083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22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21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40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39.xml"/><Relationship Id="rId9" Type="http://schemas.openxmlformats.org/officeDocument/2006/relationships/vmlDrawing" Target="../drawings/vmlDrawing3.vml"/><Relationship Id="rId14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17"/>
            <a:ext cx="12192000" cy="6833724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-38629"/>
            <a:ext cx="12192000" cy="1130301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77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 b="1" dirty="0">
              <a:solidFill>
                <a:prstClr val="whit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6393" y="311657"/>
            <a:ext cx="2112235" cy="110203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5641839" y="6639966"/>
            <a:ext cx="901836" cy="227276"/>
          </a:xfrm>
          <a:prstGeom prst="rect">
            <a:avLst/>
          </a:prstGeom>
          <a:solidFill>
            <a:srgbClr val="1021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7" fontAlgn="base">
              <a:spcBef>
                <a:spcPct val="0"/>
              </a:spcBef>
              <a:spcAft>
                <a:spcPct val="0"/>
              </a:spcAft>
            </a:pPr>
            <a:endParaRPr lang="en-GB" sz="1800" b="1" dirty="0">
              <a:solidFill>
                <a:srgbClr val="1021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79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6" r:id="rId13"/>
    <p:sldLayoutId id="2147483687" r:id="rId14"/>
    <p:sldLayoutId id="2147483688" r:id="rId15"/>
    <p:sldLayoutId id="2147483689" r:id="rId16"/>
    <p:sldLayoutId id="2147483690" r:id="rId17"/>
  </p:sldLayoutIdLst>
  <p:hf hdr="0" ftr="0" dt="0"/>
  <p:txStyles>
    <p:titleStyle>
      <a:lvl1pPr algn="ctr" defTabSz="457177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82" indent="-342882" algn="l" defTabSz="457177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12" indent="-285736" algn="l" defTabSz="457177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8" algn="l" defTabSz="457177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18" indent="-228588" algn="l" defTabSz="457177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5" indent="-228588" algn="l" defTabSz="457177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1" indent="-228588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8" indent="-228588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5" indent="-228588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1" indent="-228588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3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0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6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3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0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6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3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accent3">
            <a:lumOff val="4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077294980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" name="Diapositiva de think-cell" r:id="rId11" imgW="270" imgH="270" progId="TCLayout.ActiveDocument.1">
                  <p:embed/>
                </p:oleObj>
              </mc:Choice>
              <mc:Fallback>
                <p:oleObj name="Diapositiva de think-cell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watermark.png"/>
          <p:cNvPicPr>
            <a:picLocks/>
          </p:cNvPicPr>
          <p:nvPr/>
        </p:nvPicPr>
        <p:blipFill>
          <a:blip r:embed="rId13">
            <a:extLst/>
          </a:blip>
          <a:stretch>
            <a:fillRect/>
          </a:stretch>
        </p:blipFill>
        <p:spPr>
          <a:xfrm>
            <a:off x="714377" y="-535781"/>
            <a:ext cx="3738563" cy="366204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3"/>
          <p:cNvSpPr>
            <a:spLocks noGrp="1"/>
          </p:cNvSpPr>
          <p:nvPr>
            <p:ph type="title"/>
          </p:nvPr>
        </p:nvSpPr>
        <p:spPr>
          <a:xfrm>
            <a:off x="416721" y="5357819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4383" tIns="24383" rIns="24383" bIns="24383"/>
          <a:lstStyle/>
          <a:p>
            <a:r>
              <a:rPr lang="en-GB" dirty="0"/>
              <a:t>Title Text</a:t>
            </a:r>
          </a:p>
        </p:txBody>
      </p:sp>
      <p:sp>
        <p:nvSpPr>
          <p:cNvPr id="4" name="Shape 4"/>
          <p:cNvSpPr>
            <a:spLocks noGrp="1"/>
          </p:cNvSpPr>
          <p:nvPr>
            <p:ph type="body" idx="1"/>
          </p:nvPr>
        </p:nvSpPr>
        <p:spPr>
          <a:xfrm>
            <a:off x="416721" y="4464851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4383" tIns="24383" rIns="24383" bIns="24383" anchor="b"/>
          <a:lstStyle/>
          <a:p>
            <a:r>
              <a:rPr lang="en-GB" dirty="0"/>
              <a:t>Body Level One</a:t>
            </a:r>
          </a:p>
          <a:p>
            <a:pPr lvl="1"/>
            <a:r>
              <a:rPr lang="en-GB" dirty="0"/>
              <a:t>Body Level Two</a:t>
            </a:r>
          </a:p>
          <a:p>
            <a:pPr lvl="2"/>
            <a:r>
              <a:rPr lang="en-GB" dirty="0"/>
              <a:t>Body Level Three</a:t>
            </a:r>
          </a:p>
          <a:p>
            <a:pPr lvl="3"/>
            <a:r>
              <a:rPr lang="en-GB" dirty="0"/>
              <a:t>Body Level Four</a:t>
            </a:r>
          </a:p>
          <a:p>
            <a:pPr lvl="4"/>
            <a:r>
              <a:rPr lang="en-GB" dirty="0"/>
              <a:t>Body Level Five</a:t>
            </a:r>
          </a:p>
        </p:txBody>
      </p:sp>
      <p:sp>
        <p:nvSpPr>
          <p:cNvPr id="5" name="Shape 5"/>
          <p:cNvSpPr>
            <a:spLocks noGrp="1"/>
          </p:cNvSpPr>
          <p:nvPr>
            <p:ph type="sldNum" sz="quarter" idx="2"/>
          </p:nvPr>
        </p:nvSpPr>
        <p:spPr>
          <a:xfrm>
            <a:off x="11108535" y="6338888"/>
            <a:ext cx="666751" cy="283152"/>
          </a:xfrm>
          <a:prstGeom prst="rect">
            <a:avLst/>
          </a:prstGeom>
          <a:ln w="12700">
            <a:miter lim="400000"/>
          </a:ln>
        </p:spPr>
        <p:txBody>
          <a:bodyPr lIns="48767" tIns="48767" rIns="48767" bIns="48767">
            <a:spAutoFit/>
          </a:bodyPr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6CB4B4D-7CA3-9044-876B-883B54F8677D}" type="slidenum">
              <a:rPr lang="en-GB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hape 6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7" name="Shape 7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9" name="logo_ce-en-neg-quadri_ligthgreen.png"/>
          <p:cNvPicPr>
            <a:picLocks noChangeAspect="1"/>
          </p:cNvPicPr>
          <p:nvPr/>
        </p:nvPicPr>
        <p:blipFill>
          <a:blip r:embed="rId14">
            <a:extLst/>
          </a:blip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157383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</p:sldLayoutIdLst>
  <p:transition spd="med"/>
  <p:hf hdr="0" ftr="0" dt="0"/>
  <p:txStyles>
    <p:titleStyle>
      <a:lvl1pPr marL="0" marR="0" indent="223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all" spc="0" baseline="0">
          <a:ln>
            <a:noFill/>
          </a:ln>
          <a:solidFill>
            <a:srgbClr val="76B861"/>
          </a:solidFill>
          <a:uFillTx/>
          <a:latin typeface="EC Square Sans Pro" panose="020B0506040000020004" pitchFamily="34" charset="0"/>
          <a:ea typeface="Verdana"/>
          <a:cs typeface="Verdana"/>
          <a:sym typeface="Verdana"/>
        </a:defRPr>
      </a:lvl1pPr>
      <a:lvl2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2pPr>
      <a:lvl3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3pPr>
      <a:lvl4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4pPr>
      <a:lvl5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5pPr>
      <a:lvl6pPr marL="0" marR="0" indent="57371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6pPr>
      <a:lvl7pPr marL="0" marR="0" indent="895169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7pPr>
      <a:lvl8pPr marL="0" marR="0" indent="1216627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8pPr>
      <a:lvl9pPr marL="0" marR="0" indent="1538084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9pPr>
    </p:titleStyle>
    <p:bodyStyle>
      <a:lvl1pPr marL="0" marR="0" indent="0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1pPr>
      <a:lvl2pPr marL="0" marR="0" indent="1607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2pPr>
      <a:lvl3pPr marL="0" marR="0" indent="321457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3pPr>
      <a:lvl4pPr marL="0" marR="0" indent="482186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4pPr>
      <a:lvl5pPr marL="0" marR="0" indent="642915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5pPr>
      <a:lvl6pPr marL="0" marR="0" indent="803643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6pPr>
      <a:lvl7pPr marL="0" marR="0" indent="964372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7pPr>
      <a:lvl8pPr marL="0" marR="0" indent="1125101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8pPr>
      <a:lvl9pPr marL="0" marR="0" indent="12858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1pPr>
      <a:lvl2pPr marL="0" marR="0" indent="32145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2pPr>
      <a:lvl3pPr marL="0" marR="0" indent="642915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3pPr>
      <a:lvl4pPr marL="0" marR="0" indent="964372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4pPr>
      <a:lvl5pPr marL="0" marR="0" indent="128582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5pPr>
      <a:lvl6pPr marL="0" marR="0" indent="160728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6pPr>
      <a:lvl7pPr marL="0" marR="0" indent="1928744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7pPr>
      <a:lvl8pPr marL="0" marR="0" indent="2250201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8pPr>
      <a:lvl9pPr marL="0" marR="0" indent="257165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4417" y="1123977"/>
            <a:ext cx="109728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Lorem ipsum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2387600"/>
            <a:ext cx="10972800" cy="3633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BE" dirty="0" smtClean="0"/>
              <a:t>Et dolor fragum</a:t>
            </a:r>
            <a:endParaRPr lang="en-GB" dirty="0" smtClean="0"/>
          </a:p>
          <a:p>
            <a:pPr lvl="1"/>
            <a:r>
              <a:rPr lang="en-GB" dirty="0" smtClean="0"/>
              <a:t>Et </a:t>
            </a:r>
            <a:r>
              <a:rPr lang="en-GB" dirty="0" err="1" smtClean="0"/>
              <a:t>dolor</a:t>
            </a:r>
            <a:r>
              <a:rPr lang="en-GB" dirty="0" smtClean="0"/>
              <a:t> </a:t>
            </a:r>
            <a:r>
              <a:rPr lang="en-GB" dirty="0" err="1" smtClean="0"/>
              <a:t>fragum</a:t>
            </a:r>
            <a:endParaRPr lang="en-GB" dirty="0" smtClean="0"/>
          </a:p>
          <a:p>
            <a:pPr lvl="2"/>
            <a:r>
              <a:rPr lang="en-GB" dirty="0" smtClean="0"/>
              <a:t>- Et </a:t>
            </a:r>
            <a:r>
              <a:rPr lang="en-GB" dirty="0" err="1" smtClean="0"/>
              <a:t>dolor</a:t>
            </a:r>
            <a:r>
              <a:rPr lang="en-GB" dirty="0" smtClean="0"/>
              <a:t> </a:t>
            </a:r>
            <a:r>
              <a:rPr lang="en-GB" dirty="0" err="1" smtClean="0"/>
              <a:t>fragum</a:t>
            </a:r>
            <a:endParaRPr lang="en-GB" dirty="0" smtClean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chemeClr val="tx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lang="en-GB" sz="14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C8D21B7-B314-438C-91E9-7FF9087DC078}" type="slidenum">
              <a:rPr lang="en-GB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7437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</p:sldLayoutIdLst>
  <p:hf sldNum="0" hdr="0" ftr="0" dt="0"/>
  <p:txStyles>
    <p:titleStyle>
      <a:lvl1pPr marL="358775" indent="-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+mj-lt"/>
          <a:ea typeface="+mj-ea"/>
          <a:cs typeface="+mj-cs"/>
        </a:defRPr>
      </a:lvl1pPr>
      <a:lvl2pPr marL="358775" indent="-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2pPr>
      <a:lvl3pPr marL="358775" indent="-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3pPr>
      <a:lvl4pPr marL="358775" indent="-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4pPr>
      <a:lvl5pPr marL="358775" indent="-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5pPr>
      <a:lvl6pPr marL="8159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6pPr>
      <a:lvl7pPr marL="12731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7pPr>
      <a:lvl8pPr marL="17303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8pPr>
      <a:lvl9pPr marL="21875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•"/>
        <a:defRPr sz="2400" i="1">
          <a:solidFill>
            <a:srgbClr val="0F5494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9FBA"/>
        </a:buClr>
        <a:buChar char="•"/>
        <a:defRPr sz="2000" b="1">
          <a:solidFill>
            <a:srgbClr val="0F5494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defRPr sz="1400">
          <a:solidFill>
            <a:srgbClr val="0F5494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accent3">
            <a:lumOff val="4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63930376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7" name="Diapositiva de think-cell" r:id="rId11" imgW="270" imgH="270" progId="TCLayout.ActiveDocument.1">
                  <p:embed/>
                </p:oleObj>
              </mc:Choice>
              <mc:Fallback>
                <p:oleObj name="Diapositiva de think-cell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watermark.png"/>
          <p:cNvPicPr>
            <a:picLocks/>
          </p:cNvPicPr>
          <p:nvPr/>
        </p:nvPicPr>
        <p:blipFill>
          <a:blip r:embed="rId13">
            <a:extLst/>
          </a:blip>
          <a:stretch>
            <a:fillRect/>
          </a:stretch>
        </p:blipFill>
        <p:spPr>
          <a:xfrm>
            <a:off x="714377" y="-535781"/>
            <a:ext cx="3738563" cy="366204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3"/>
          <p:cNvSpPr>
            <a:spLocks noGrp="1"/>
          </p:cNvSpPr>
          <p:nvPr>
            <p:ph type="title"/>
          </p:nvPr>
        </p:nvSpPr>
        <p:spPr>
          <a:xfrm>
            <a:off x="416721" y="5357819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4383" tIns="24383" rIns="24383" bIns="24383"/>
          <a:lstStyle/>
          <a:p>
            <a:r>
              <a:rPr lang="en-GB" dirty="0"/>
              <a:t>Title Text</a:t>
            </a:r>
          </a:p>
        </p:txBody>
      </p:sp>
      <p:sp>
        <p:nvSpPr>
          <p:cNvPr id="4" name="Shape 4"/>
          <p:cNvSpPr>
            <a:spLocks noGrp="1"/>
          </p:cNvSpPr>
          <p:nvPr>
            <p:ph type="body" idx="1"/>
          </p:nvPr>
        </p:nvSpPr>
        <p:spPr>
          <a:xfrm>
            <a:off x="416721" y="4464851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4383" tIns="24383" rIns="24383" bIns="24383" anchor="b"/>
          <a:lstStyle/>
          <a:p>
            <a:r>
              <a:rPr lang="en-GB" dirty="0"/>
              <a:t>Body Level One</a:t>
            </a:r>
          </a:p>
          <a:p>
            <a:pPr lvl="1"/>
            <a:r>
              <a:rPr lang="en-GB" dirty="0"/>
              <a:t>Body Level Two</a:t>
            </a:r>
          </a:p>
          <a:p>
            <a:pPr lvl="2"/>
            <a:r>
              <a:rPr lang="en-GB" dirty="0"/>
              <a:t>Body Level Three</a:t>
            </a:r>
          </a:p>
          <a:p>
            <a:pPr lvl="3"/>
            <a:r>
              <a:rPr lang="en-GB" dirty="0"/>
              <a:t>Body Level Four</a:t>
            </a:r>
          </a:p>
          <a:p>
            <a:pPr lvl="4"/>
            <a:r>
              <a:rPr lang="en-GB" dirty="0"/>
              <a:t>Body Level Five</a:t>
            </a:r>
          </a:p>
        </p:txBody>
      </p:sp>
      <p:sp>
        <p:nvSpPr>
          <p:cNvPr id="5" name="Shape 5"/>
          <p:cNvSpPr>
            <a:spLocks noGrp="1"/>
          </p:cNvSpPr>
          <p:nvPr>
            <p:ph type="sldNum" sz="quarter" idx="2"/>
          </p:nvPr>
        </p:nvSpPr>
        <p:spPr>
          <a:xfrm>
            <a:off x="11108535" y="6338888"/>
            <a:ext cx="666751" cy="283152"/>
          </a:xfrm>
          <a:prstGeom prst="rect">
            <a:avLst/>
          </a:prstGeom>
          <a:ln w="12700">
            <a:miter lim="400000"/>
          </a:ln>
        </p:spPr>
        <p:txBody>
          <a:bodyPr lIns="48767" tIns="48767" rIns="48767" bIns="48767">
            <a:spAutoFit/>
          </a:bodyPr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6CB4B4D-7CA3-9044-876B-883B54F8677D}" type="slidenum">
              <a:rPr lang="en-GB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b="1" dirty="0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hape 6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 dirty="0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7" name="Shape 7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 dirty="0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9" name="logo_ce-en-neg-quadri_ligthgreen.png"/>
          <p:cNvPicPr>
            <a:picLocks noChangeAspect="1"/>
          </p:cNvPicPr>
          <p:nvPr/>
        </p:nvPicPr>
        <p:blipFill>
          <a:blip r:embed="rId14">
            <a:extLst/>
          </a:blip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02210889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</p:sldLayoutIdLst>
  <p:transition spd="med"/>
  <p:hf hdr="0" ftr="0" dt="0"/>
  <p:txStyles>
    <p:titleStyle>
      <a:lvl1pPr marL="0" marR="0" indent="223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all" spc="0" baseline="0">
          <a:ln>
            <a:noFill/>
          </a:ln>
          <a:solidFill>
            <a:srgbClr val="76B861"/>
          </a:solidFill>
          <a:uFillTx/>
          <a:latin typeface="EC Square Sans Pro" panose="020B0506040000020004" pitchFamily="34" charset="0"/>
          <a:ea typeface="Verdana"/>
          <a:cs typeface="Verdana"/>
          <a:sym typeface="Verdana"/>
        </a:defRPr>
      </a:lvl1pPr>
      <a:lvl2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2pPr>
      <a:lvl3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3pPr>
      <a:lvl4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4pPr>
      <a:lvl5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5pPr>
      <a:lvl6pPr marL="0" marR="0" indent="57371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6pPr>
      <a:lvl7pPr marL="0" marR="0" indent="895169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7pPr>
      <a:lvl8pPr marL="0" marR="0" indent="1216627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8pPr>
      <a:lvl9pPr marL="0" marR="0" indent="1538084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9pPr>
    </p:titleStyle>
    <p:bodyStyle>
      <a:lvl1pPr marL="0" marR="0" indent="0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1pPr>
      <a:lvl2pPr marL="0" marR="0" indent="1607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2pPr>
      <a:lvl3pPr marL="0" marR="0" indent="321457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3pPr>
      <a:lvl4pPr marL="0" marR="0" indent="482186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4pPr>
      <a:lvl5pPr marL="0" marR="0" indent="642915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5pPr>
      <a:lvl6pPr marL="0" marR="0" indent="803643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6pPr>
      <a:lvl7pPr marL="0" marR="0" indent="964372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7pPr>
      <a:lvl8pPr marL="0" marR="0" indent="1125101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8pPr>
      <a:lvl9pPr marL="0" marR="0" indent="12858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1pPr>
      <a:lvl2pPr marL="0" marR="0" indent="32145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2pPr>
      <a:lvl3pPr marL="0" marR="0" indent="642915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3pPr>
      <a:lvl4pPr marL="0" marR="0" indent="964372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4pPr>
      <a:lvl5pPr marL="0" marR="0" indent="128582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5pPr>
      <a:lvl6pPr marL="0" marR="0" indent="160728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6pPr>
      <a:lvl7pPr marL="0" marR="0" indent="1928744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7pPr>
      <a:lvl8pPr marL="0" marR="0" indent="2250201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8pPr>
      <a:lvl9pPr marL="0" marR="0" indent="257165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ec.europa.eu/eusurvey/runner/ESCOevaluation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4196" y="1993438"/>
            <a:ext cx="9367804" cy="2304256"/>
          </a:xfrm>
        </p:spPr>
        <p:txBody>
          <a:bodyPr/>
          <a:lstStyle/>
          <a:p>
            <a:r>
              <a:rPr lang="fr-BE" sz="4000" dirty="0"/>
              <a:t/>
            </a:r>
            <a:br>
              <a:rPr lang="fr-BE" sz="4000" dirty="0"/>
            </a:br>
            <a:r>
              <a:rPr lang="fr-BE" sz="4000" dirty="0" smtClean="0"/>
              <a:t>ESCO communication &amp; </a:t>
            </a:r>
            <a:r>
              <a:rPr lang="fr-BE" sz="4000" dirty="0" err="1" smtClean="0"/>
              <a:t>implementation</a:t>
            </a:r>
            <a:r>
              <a:rPr lang="fr-B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fr-BE" sz="2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B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fr-BE" sz="2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Presentations 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on the use of ESCO in different Member </a:t>
            </a:r>
            <a:r>
              <a:rPr lang="en-GB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tates: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Greek Public Employment Service &amp; </a:t>
            </a:r>
            <a:r>
              <a:rPr lang="en-GB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killab</a:t>
            </a:r>
            <a:r>
              <a:rPr lang="fr-B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fr-BE" sz="2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BE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fr-BE" sz="2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2000" b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8796" y="5054250"/>
            <a:ext cx="5902549" cy="1578248"/>
          </a:xfrm>
        </p:spPr>
        <p:txBody>
          <a:bodyPr/>
          <a:lstStyle/>
          <a:p>
            <a:r>
              <a:rPr lang="en-US" altLang="en-US" sz="1800" b="0" i="1" dirty="0"/>
              <a:t>Joint ESCO MSWG&amp;MAI meeting</a:t>
            </a:r>
          </a:p>
          <a:p>
            <a:r>
              <a:rPr lang="de-DE" altLang="en-US" sz="1800" b="0" i="1" dirty="0"/>
              <a:t/>
            </a:r>
            <a:br>
              <a:rPr lang="de-DE" altLang="en-US" sz="1800" b="0" i="1" dirty="0"/>
            </a:br>
            <a:r>
              <a:rPr lang="de-DE" altLang="en-US" sz="1800" b="0" i="1" dirty="0"/>
              <a:t>29 November 2021</a:t>
            </a:r>
          </a:p>
          <a:p>
            <a:endParaRPr lang="en-GB" sz="1800" b="0" dirty="0"/>
          </a:p>
        </p:txBody>
      </p:sp>
    </p:spTree>
    <p:extLst>
      <p:ext uri="{BB962C8B-B14F-4D97-AF65-F5344CB8AC3E}">
        <p14:creationId xmlns:p14="http://schemas.microsoft.com/office/powerpoint/2010/main" val="1571873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416" y="271065"/>
            <a:ext cx="10857915" cy="936625"/>
          </a:xfrm>
        </p:spPr>
        <p:txBody>
          <a:bodyPr/>
          <a:lstStyle/>
          <a:p>
            <a:pPr algn="ctr"/>
            <a:r>
              <a:rPr lang="fr-BE" dirty="0" smtClean="0"/>
              <a:t>ESCO </a:t>
            </a:r>
            <a:r>
              <a:rPr lang="fr-BE" dirty="0" err="1" smtClean="0"/>
              <a:t>evaluation</a:t>
            </a:r>
            <a:r>
              <a:rPr lang="fr-BE" dirty="0" smtClean="0"/>
              <a:t> </a:t>
            </a:r>
            <a:r>
              <a:rPr lang="fr-BE" dirty="0" err="1" smtClean="0"/>
              <a:t>surve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7787" y="1386946"/>
            <a:ext cx="7628350" cy="5071809"/>
          </a:xfrm>
        </p:spPr>
        <p:txBody>
          <a:bodyPr/>
          <a:lstStyle/>
          <a:p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Aim: </a:t>
            </a:r>
          </a:p>
          <a:p>
            <a:pPr lvl="1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o gather evidence about the 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impact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of ESCO in the digital labour market &amp; education/training;</a:t>
            </a:r>
          </a:p>
          <a:p>
            <a:pPr lvl="1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better understand the contribution it makes to implementers’ services/projects or research.</a:t>
            </a:r>
          </a:p>
          <a:p>
            <a:pPr marL="0" indent="0">
              <a:buNone/>
            </a:pP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Available until 31</a:t>
            </a:r>
            <a:r>
              <a:rPr lang="en-GB" i="0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of December 2021 at </a:t>
            </a:r>
            <a:endParaRPr lang="en-GB" i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s</a:t>
            </a:r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://</a:t>
            </a:r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ec.europa.eu/eusurvey/runner/ESCOevaluation</a:t>
            </a: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i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i="0" dirty="0" smtClean="0">
                <a:latin typeface="Arial" panose="020B0604020202020204" pitchFamily="34" charset="0"/>
                <a:cs typeface="Arial" panose="020B0604020202020204" pitchFamily="34" charset="0"/>
              </a:rPr>
              <a:t>Please </a:t>
            </a:r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share it widely in your networks, thank you!</a:t>
            </a:r>
          </a:p>
          <a:p>
            <a:pPr lvl="1"/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7628351" y="1207690"/>
            <a:ext cx="4384109" cy="5071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F5494"/>
              </a:buClr>
              <a:buFont typeface="Arial" pitchFamily="34" charset="0"/>
              <a:buChar char="•"/>
              <a:defRPr sz="2400" i="1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F5494"/>
              </a:buClr>
              <a:buChar char="•"/>
              <a:defRPr sz="2000" b="1">
                <a:solidFill>
                  <a:srgbClr val="0F5494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400">
                <a:solidFill>
                  <a:srgbClr val="0F5494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GB" i="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i="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Structure:</a:t>
            </a:r>
          </a:p>
          <a:p>
            <a:pPr marL="0" indent="0">
              <a:buNone/>
            </a:pPr>
            <a:endParaRPr lang="en-GB" i="0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i="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ESCO’s visibility</a:t>
            </a:r>
          </a:p>
          <a:p>
            <a:r>
              <a:rPr lang="en-GB" i="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The use of ESCO in your services</a:t>
            </a:r>
          </a:p>
          <a:p>
            <a:r>
              <a:rPr lang="en-GB" i="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Evaluation of ESCO in your services</a:t>
            </a:r>
          </a:p>
          <a:p>
            <a:r>
              <a:rPr lang="en-GB" i="0" kern="0" dirty="0">
                <a:latin typeface="Arial" panose="020B0604020202020204" pitchFamily="34" charset="0"/>
                <a:cs typeface="Arial" panose="020B0604020202020204" pitchFamily="34" charset="0"/>
              </a:rPr>
              <a:t>Perception of ESCO’s impact and </a:t>
            </a:r>
            <a:r>
              <a:rPr lang="en-GB" i="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relevance</a:t>
            </a:r>
          </a:p>
          <a:p>
            <a:r>
              <a:rPr lang="en-GB" i="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The use of ESCO in EURES</a:t>
            </a:r>
          </a:p>
          <a:p>
            <a:r>
              <a:rPr lang="en-GB" i="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User demographics</a:t>
            </a:r>
            <a:endParaRPr lang="en-GB" i="0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GB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1268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"/>
            <a:ext cx="12192000" cy="6857999"/>
          </a:xfrm>
        </p:spPr>
      </p:pic>
    </p:spTree>
    <p:extLst>
      <p:ext uri="{BB962C8B-B14F-4D97-AF65-F5344CB8AC3E}">
        <p14:creationId xmlns:p14="http://schemas.microsoft.com/office/powerpoint/2010/main" val="3810793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POWER_USER_PPT_AGENDA_PRESENTATION_COLOR_TAG" val="#4F81BD"/>
  <p:tag name="POWER_USER_PPT_AGENDA_PRESENTATION_DIVIDERS_CHECKED_TAG" val="0"/>
  <p:tag name="POWER_USER_PPT_AGENDA_PRESENTATION_TABLE_OF_CONTENT_CHECKED_TAG" val="1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B. BURIAN new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EC-template">
  <a:themeElements>
    <a:clrScheme name="Custom 1">
      <a:dk1>
        <a:srgbClr val="FFFFFF"/>
      </a:dk1>
      <a:lt1>
        <a:srgbClr val="004494"/>
      </a:lt1>
      <a:dk2>
        <a:srgbClr val="A7A7A7"/>
      </a:dk2>
      <a:lt2>
        <a:srgbClr val="535353"/>
      </a:lt2>
      <a:accent1>
        <a:srgbClr val="3F85C1"/>
      </a:accent1>
      <a:accent2>
        <a:srgbClr val="333399"/>
      </a:accent2>
      <a:accent3>
        <a:srgbClr val="8F8F8F"/>
      </a:accent3>
      <a:accent4>
        <a:srgbClr val="707070"/>
      </a:accent4>
      <a:accent5>
        <a:srgbClr val="DAEDEF"/>
      </a:accent5>
      <a:accent6>
        <a:srgbClr val="2D2D8A"/>
      </a:accent6>
      <a:hlink>
        <a:srgbClr val="0000FF"/>
      </a:hlink>
      <a:folHlink>
        <a:srgbClr val="FF00FF"/>
      </a:folHlink>
    </a:clrScheme>
    <a:fontScheme name="Default">
      <a:majorFont>
        <a:latin typeface="Helvetica"/>
        <a:ea typeface="Helvetica"/>
        <a:cs typeface="Helvetica"/>
      </a:majorFont>
      <a:minorFont>
        <a:latin typeface="Helvetica Neue"/>
        <a:ea typeface="Helvetica Neue"/>
        <a:cs typeface="Helvetica Neue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127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Off val="44000"/>
          </a:schemeClr>
        </a:solidFill>
        <a:ln w="25400" cap="flat">
          <a:solidFill>
            <a:schemeClr val="accent1"/>
          </a:solidFill>
          <a:prstDash val="solid"/>
          <a:bevel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bevel/>
        </a:ln>
        <a:effectLst>
          <a:outerShdw blurRad="38100" dist="127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t">
        <a:spAutoFit/>
      </a:bodyPr>
      <a:lstStyle>
        <a:defPPr marL="0" marR="0" indent="0" algn="r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>
            <a:ln>
              <a:noFill/>
            </a:ln>
            <a:solidFill>
              <a:srgbClr val="004494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ISA²_powerpoint.potx [Read-Only]" id="{7205C11F-0D12-4F59-BFAC-C4B0F5FE284B}" vid="{9A7CC786-56E4-4E93-8396-3DA3AA2DADCB}"/>
    </a:ext>
  </a:extLst>
</a:theme>
</file>

<file path=ppt/theme/theme3.xml><?xml version="1.0" encoding="utf-8"?>
<a:theme xmlns:a="http://schemas.openxmlformats.org/drawingml/2006/main" name="Blank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33176"/>
        </a:solidFill>
        <a:ln>
          <a:solidFill>
            <a:srgbClr val="133176"/>
          </a:solidFill>
        </a:ln>
      </a:spPr>
      <a:bodyPr anchor="ctr"/>
      <a:lstStyle>
        <a:defPPr algn="ctr" defTabSz="457200" fontAlgn="auto">
          <a:spcBef>
            <a:spcPts val="0"/>
          </a:spcBef>
          <a:spcAft>
            <a:spcPts val="0"/>
          </a:spcAft>
          <a:defRPr sz="1800" b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7600" b="1" i="0" u="none" strike="noStrike" cap="none" normalizeH="0" baseline="0" smtClean="0">
            <a:ln>
              <a:noFill/>
            </a:ln>
            <a:solidFill>
              <a:srgbClr val="FFD624"/>
            </a:solidFill>
            <a:effectLst/>
            <a:latin typeface="Verdana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2400" b="0" dirty="0" err="1" smtClean="0">
            <a:solidFill>
              <a:srgbClr val="0F5494"/>
            </a:solidFill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EC-template">
  <a:themeElements>
    <a:clrScheme name="Custom 1">
      <a:dk1>
        <a:srgbClr val="FFFFFF"/>
      </a:dk1>
      <a:lt1>
        <a:srgbClr val="004494"/>
      </a:lt1>
      <a:dk2>
        <a:srgbClr val="A7A7A7"/>
      </a:dk2>
      <a:lt2>
        <a:srgbClr val="535353"/>
      </a:lt2>
      <a:accent1>
        <a:srgbClr val="3F85C1"/>
      </a:accent1>
      <a:accent2>
        <a:srgbClr val="333399"/>
      </a:accent2>
      <a:accent3>
        <a:srgbClr val="8F8F8F"/>
      </a:accent3>
      <a:accent4>
        <a:srgbClr val="707070"/>
      </a:accent4>
      <a:accent5>
        <a:srgbClr val="DAEDEF"/>
      </a:accent5>
      <a:accent6>
        <a:srgbClr val="2D2D8A"/>
      </a:accent6>
      <a:hlink>
        <a:srgbClr val="0000FF"/>
      </a:hlink>
      <a:folHlink>
        <a:srgbClr val="FF00FF"/>
      </a:folHlink>
    </a:clrScheme>
    <a:fontScheme name="Default">
      <a:majorFont>
        <a:latin typeface="Helvetica"/>
        <a:ea typeface="Helvetica"/>
        <a:cs typeface="Helvetica"/>
      </a:majorFont>
      <a:minorFont>
        <a:latin typeface="Helvetica Neue"/>
        <a:ea typeface="Helvetica Neue"/>
        <a:cs typeface="Helvetica Neue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127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Off val="44000"/>
          </a:schemeClr>
        </a:solidFill>
        <a:ln w="25400" cap="flat">
          <a:solidFill>
            <a:schemeClr val="accent1"/>
          </a:solidFill>
          <a:prstDash val="solid"/>
          <a:bevel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bevel/>
        </a:ln>
        <a:effectLst>
          <a:outerShdw blurRad="38100" dist="127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t">
        <a:spAutoFit/>
      </a:bodyPr>
      <a:lstStyle>
        <a:defPPr marL="0" marR="0" indent="0" algn="r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>
            <a:ln>
              <a:noFill/>
            </a:ln>
            <a:solidFill>
              <a:srgbClr val="004494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ISA²_powerpoint.potx [Read-Only]" id="{7205C11F-0D12-4F59-BFAC-C4B0F5FE284B}" vid="{9A7CC786-56E4-4E93-8396-3DA3AA2DADCB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F24384FABC236469C9CD554DB414A52" ma:contentTypeVersion="13" ma:contentTypeDescription="Create a new document." ma:contentTypeScope="" ma:versionID="ef50ca8121a0e9314022b46d2faeddc2">
  <xsd:schema xmlns:xsd="http://www.w3.org/2001/XMLSchema" xmlns:xs="http://www.w3.org/2001/XMLSchema" xmlns:p="http://schemas.microsoft.com/office/2006/metadata/properties" xmlns:ns2="2394d3b4-0180-4131-885a-ce664fdb0b5d" xmlns:ns3="1f5cff2b-1187-4055-a60b-d71ba6a41b85" targetNamespace="http://schemas.microsoft.com/office/2006/metadata/properties" ma:root="true" ma:fieldsID="09eda923049b0526155b94dfbd8e75b9" ns2:_="" ns3:_="">
    <xsd:import namespace="2394d3b4-0180-4131-885a-ce664fdb0b5d"/>
    <xsd:import namespace="1f5cff2b-1187-4055-a60b-d71ba6a41b8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94d3b4-0180-4131-885a-ce664fdb0b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5cff2b-1187-4055-a60b-d71ba6a41b85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2F54422-90AF-4A24-A410-4DD226350F00}"/>
</file>

<file path=customXml/itemProps2.xml><?xml version="1.0" encoding="utf-8"?>
<ds:datastoreItem xmlns:ds="http://schemas.openxmlformats.org/officeDocument/2006/customXml" ds:itemID="{FBF9527F-9A10-4512-88A6-1A61382AE9CD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4a230dd3-5426-44e9-972e-c86e457e3d31"/>
    <ds:schemaRef ds:uri="0c869d80-d99c-4dac-b26b-cbbc56b0e91c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4A93E73-7409-449E-87AE-924AE3E3D51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384</TotalTime>
  <Words>92</Words>
  <Application>Microsoft Office PowerPoint</Application>
  <PresentationFormat>Widescreen</PresentationFormat>
  <Paragraphs>24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4" baseType="lpstr">
      <vt:lpstr>Arial</vt:lpstr>
      <vt:lpstr>Calibri</vt:lpstr>
      <vt:lpstr>Courier New</vt:lpstr>
      <vt:lpstr>EC Square Sans Pro</vt:lpstr>
      <vt:lpstr>Helvetica Neue</vt:lpstr>
      <vt:lpstr>Verdana</vt:lpstr>
      <vt:lpstr>16B. BURIAN new template</vt:lpstr>
      <vt:lpstr>EC-template</vt:lpstr>
      <vt:lpstr>Blank</vt:lpstr>
      <vt:lpstr>1_EC-template</vt:lpstr>
      <vt:lpstr>Diapositiva de think-cell</vt:lpstr>
      <vt:lpstr> ESCO communication &amp; implementation  Presentations on the use of ESCO in different Member States: Greek Public Employment Service &amp; Skillab  </vt:lpstr>
      <vt:lpstr>ESCO evaluation survey</vt:lpstr>
      <vt:lpstr>PowerPoint Presentation</vt:lpstr>
    </vt:vector>
  </TitlesOfParts>
  <Company>PricewaterhouseCooper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MSS</dc:title>
  <dc:creator>Elien Hertveldt</dc:creator>
  <cp:lastModifiedBy>Laura Veza-Visan</cp:lastModifiedBy>
  <cp:revision>1164</cp:revision>
  <cp:lastPrinted>2018-06-26T10:02:01Z</cp:lastPrinted>
  <dcterms:created xsi:type="dcterms:W3CDTF">2016-09-12T12:31:58Z</dcterms:created>
  <dcterms:modified xsi:type="dcterms:W3CDTF">2021-11-25T08:50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24384FABC236469C9CD554DB414A52</vt:lpwstr>
  </property>
  <property fmtid="{D5CDD505-2E9C-101B-9397-08002B2CF9AE}" pid="3" name="_dlc_DocIdItemGuid">
    <vt:lpwstr>5219d683-a087-4781-bf56-561800d67e3d</vt:lpwstr>
  </property>
</Properties>
</file>